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png" ContentType="image/pn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30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439.xml" ContentType="application/vnd.openxmlformats-officedocument.presentationml.tags+xml"/>
  <Override PartName="/ppt/notesSlides/notesSlide130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75" r:id="rId13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30.xml" Id="rId133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34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30.xml.rels>&#65279;<?xml version="1.0" encoding="utf-8"?><Relationships xmlns="http://schemas.openxmlformats.org/package/2006/relationships"><Relationship Type="http://schemas.openxmlformats.org/officeDocument/2006/relationships/slide" Target="/ppt/slides/slide130.xml" Id="rId2" /><Relationship Type="http://schemas.openxmlformats.org/officeDocument/2006/relationships/notesMaster" Target="/ppt/notesMasters/notesMaster1.xml" Id="rId1" /></Relationships>
</file>

<file path=ppt/notesSlides/notesSlide1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50453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30.xml.rels>&#65279;<?xml version="1.0" encoding="utf-8"?><Relationships xmlns="http://schemas.openxmlformats.org/package/2006/relationships"><Relationship Type="http://schemas.openxmlformats.org/officeDocument/2006/relationships/image" Target="/ppt/media/image159.svg" Id="rId8" /><Relationship Type="http://schemas.openxmlformats.org/officeDocument/2006/relationships/image" Target="/ppt/media/image162.png" Id="rId13" /><Relationship Type="http://schemas.openxmlformats.org/officeDocument/2006/relationships/image" Target="/ppt/media/image167.svg" Id="rId18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170.png" Id="rId21" /><Relationship Type="http://schemas.openxmlformats.org/officeDocument/2006/relationships/image" Target="/ppt/media/image158.png" Id="rId7" /><Relationship Type="http://schemas.openxmlformats.org/officeDocument/2006/relationships/image" Target="/ppt/media/image161.svg" Id="rId12" /><Relationship Type="http://schemas.openxmlformats.org/officeDocument/2006/relationships/image" Target="/ppt/media/image166.png" Id="rId17" /><Relationship Type="http://schemas.openxmlformats.org/officeDocument/2006/relationships/tags" Target="/ppt/tags/tag439.xml" Id="rId2" /><Relationship Type="http://schemas.openxmlformats.org/officeDocument/2006/relationships/image" Target="/ppt/media/image165.svg" Id="rId16" /><Relationship Type="http://schemas.openxmlformats.org/officeDocument/2006/relationships/image" Target="/ppt/media/image169.svg" Id="rId20" /><Relationship Type="http://schemas.openxmlformats.org/officeDocument/2006/relationships/vmlDrawing" Target="/ppt/drawings/vmlDrawing134.vml" Id="rId1" /><Relationship Type="http://schemas.openxmlformats.org/officeDocument/2006/relationships/image" Target="/ppt/media/image4.emf" Id="rId6" /><Relationship Type="http://schemas.openxmlformats.org/officeDocument/2006/relationships/image" Target="/ppt/media/image160.png" Id="rId11" /><Relationship Type="http://schemas.openxmlformats.org/officeDocument/2006/relationships/image" Target="/ppt/media/image173.svg" Id="rId24" /><Relationship Type="http://schemas.openxmlformats.org/officeDocument/2006/relationships/oleObject" Target="/ppt/embeddings/oleObject134.bin" Id="rId5" /><Relationship Type="http://schemas.openxmlformats.org/officeDocument/2006/relationships/image" Target="/ppt/media/image164.png" Id="rId15" /><Relationship Type="http://schemas.openxmlformats.org/officeDocument/2006/relationships/image" Target="/ppt/media/image172.png" Id="rId23" /><Relationship Type="http://schemas.openxmlformats.org/officeDocument/2006/relationships/image" Target="/ppt/media/image42.svg" Id="rId10" /><Relationship Type="http://schemas.openxmlformats.org/officeDocument/2006/relationships/image" Target="/ppt/media/image168.png" Id="rId19" /><Relationship Type="http://schemas.openxmlformats.org/officeDocument/2006/relationships/notesSlide" Target="/ppt/notesSlides/notesSlide130.xml" Id="rId4" /><Relationship Type="http://schemas.openxmlformats.org/officeDocument/2006/relationships/image" Target="/ppt/media/image41.png" Id="rId9" /><Relationship Type="http://schemas.openxmlformats.org/officeDocument/2006/relationships/image" Target="/ppt/media/image163.svg" Id="rId14" /><Relationship Type="http://schemas.openxmlformats.org/officeDocument/2006/relationships/image" Target="/ppt/media/image171.svg" Id="rId22" /></Relationships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3304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5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Path</a:t>
            </a:r>
          </a:p>
        </p:txBody>
      </p:sp>
      <p:grpSp>
        <p:nvGrpSpPr>
          <p:cNvPr id="2" name="Gruppieren 14">
            <a:extLst>
              <a:ext uri="{FF2B5EF4-FFF2-40B4-BE49-F238E27FC236}">
                <a16:creationId xmlns:a16="http://schemas.microsoft.com/office/drawing/2014/main" id="{2EDB4197-2B51-AC0E-760E-0EF965DEC956}"/>
              </a:ext>
            </a:extLst>
          </p:cNvPr>
          <p:cNvGrpSpPr>
            <a:grpSpLocks/>
          </p:cNvGrpSpPr>
          <p:nvPr/>
        </p:nvGrpSpPr>
        <p:grpSpPr>
          <a:xfrm>
            <a:off x="399436" y="5707999"/>
            <a:ext cx="7506823" cy="357308"/>
            <a:chOff x="419100" y="5737495"/>
            <a:chExt cx="8385851" cy="357308"/>
          </a:xfrm>
        </p:grpSpPr>
        <p:sp>
          <p:nvSpPr>
            <p:cNvPr id="3" name="Пятиугольник 139">
              <a:extLst>
                <a:ext uri="{FF2B5EF4-FFF2-40B4-BE49-F238E27FC236}">
                  <a16:creationId xmlns:a16="http://schemas.microsoft.com/office/drawing/2014/main" id="{99FA684E-24F0-404B-A587-70A0DDCFF5F9}"/>
                </a:ext>
              </a:extLst>
            </p:cNvPr>
            <p:cNvSpPr>
              <a:spLocks/>
            </p:cNvSpPr>
            <p:nvPr/>
          </p:nvSpPr>
          <p:spPr>
            <a:xfrm>
              <a:off x="419100" y="5737495"/>
              <a:ext cx="2150463" cy="357308"/>
            </a:xfrm>
            <a:prstGeom prst="homePlate">
              <a:avLst>
                <a:gd name="adj" fmla="val 39662"/>
              </a:avLst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3141" tIns="63141" rIns="63141" bIns="6314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07D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</a:rPr>
                <a:t>Lorem ipsum dolor sit</a:t>
              </a:r>
            </a:p>
          </p:txBody>
        </p:sp>
        <p:sp>
          <p:nvSpPr>
            <p:cNvPr id="4" name="Нашивка 140">
              <a:extLst>
                <a:ext uri="{FF2B5EF4-FFF2-40B4-BE49-F238E27FC236}">
                  <a16:creationId xmlns:a16="http://schemas.microsoft.com/office/drawing/2014/main" id="{1710A007-BB20-CE97-840B-340A839D35E5}"/>
                </a:ext>
              </a:extLst>
            </p:cNvPr>
            <p:cNvSpPr>
              <a:spLocks/>
            </p:cNvSpPr>
            <p:nvPr/>
          </p:nvSpPr>
          <p:spPr>
            <a:xfrm>
              <a:off x="2497563" y="5737495"/>
              <a:ext cx="2150463" cy="357308"/>
            </a:xfrm>
            <a:prstGeom prst="chevron">
              <a:avLst>
                <a:gd name="adj" fmla="val 39662"/>
              </a:avLst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3141" tIns="63141" rIns="63141" bIns="6314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07D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</a:rPr>
                <a:t>Lorem ipsum dolor sit</a:t>
              </a:r>
            </a:p>
          </p:txBody>
        </p:sp>
        <p:sp>
          <p:nvSpPr>
            <p:cNvPr id="6" name="Нашивка 141">
              <a:extLst>
                <a:ext uri="{FF2B5EF4-FFF2-40B4-BE49-F238E27FC236}">
                  <a16:creationId xmlns:a16="http://schemas.microsoft.com/office/drawing/2014/main" id="{B37E7D55-CAC5-5BD3-2504-CA0D5AF64171}"/>
                </a:ext>
              </a:extLst>
            </p:cNvPr>
            <p:cNvSpPr>
              <a:spLocks/>
            </p:cNvSpPr>
            <p:nvPr/>
          </p:nvSpPr>
          <p:spPr>
            <a:xfrm>
              <a:off x="4576025" y="5737495"/>
              <a:ext cx="2150463" cy="357308"/>
            </a:xfrm>
            <a:prstGeom prst="chevron">
              <a:avLst>
                <a:gd name="adj" fmla="val 39662"/>
              </a:avLst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3141" tIns="63141" rIns="63141" bIns="6314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</a:rPr>
                <a:t>Lorem ipsum dolor sit</a:t>
              </a:r>
            </a:p>
          </p:txBody>
        </p:sp>
        <p:sp>
          <p:nvSpPr>
            <p:cNvPr id="7" name="Нашивка 142">
              <a:extLst>
                <a:ext uri="{FF2B5EF4-FFF2-40B4-BE49-F238E27FC236}">
                  <a16:creationId xmlns:a16="http://schemas.microsoft.com/office/drawing/2014/main" id="{60D1C575-D99C-542D-F0B2-AAC356BFC710}"/>
                </a:ext>
              </a:extLst>
            </p:cNvPr>
            <p:cNvSpPr>
              <a:spLocks/>
            </p:cNvSpPr>
            <p:nvPr/>
          </p:nvSpPr>
          <p:spPr>
            <a:xfrm>
              <a:off x="6654488" y="5737495"/>
              <a:ext cx="2150463" cy="357308"/>
            </a:xfrm>
            <a:prstGeom prst="chevron">
              <a:avLst>
                <a:gd name="adj" fmla="val 39662"/>
              </a:avLst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3141" tIns="63141" rIns="63141" bIns="6314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</a:rPr>
                <a:t>Lorem ipsum dolor sit</a:t>
              </a:r>
            </a:p>
          </p:txBody>
        </p:sp>
      </p:grpSp>
      <p:sp>
        <p:nvSpPr>
          <p:cNvPr id="9" name="Freeform 9">
            <a:extLst>
              <a:ext uri="{FF2B5EF4-FFF2-40B4-BE49-F238E27FC236}">
                <a16:creationId xmlns:a16="http://schemas.microsoft.com/office/drawing/2014/main" id="{77688458-FAE9-7C85-1BD7-5C43D299FBCC}"/>
              </a:ext>
            </a:extLst>
          </p:cNvPr>
          <p:cNvSpPr>
            <a:spLocks/>
          </p:cNvSpPr>
          <p:nvPr/>
        </p:nvSpPr>
        <p:spPr bwMode="auto">
          <a:xfrm>
            <a:off x="6393307" y="3340724"/>
            <a:ext cx="1512951" cy="309544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1" name="Freeform 16">
            <a:extLst>
              <a:ext uri="{FF2B5EF4-FFF2-40B4-BE49-F238E27FC236}">
                <a16:creationId xmlns:a16="http://schemas.microsoft.com/office/drawing/2014/main" id="{74ABD20B-64B7-0CE5-4765-4A9DEBA6E768}"/>
              </a:ext>
            </a:extLst>
          </p:cNvPr>
          <p:cNvSpPr>
            <a:spLocks/>
          </p:cNvSpPr>
          <p:nvPr/>
        </p:nvSpPr>
        <p:spPr bwMode="auto">
          <a:xfrm>
            <a:off x="399436" y="3340724"/>
            <a:ext cx="1695000" cy="309544"/>
          </a:xfrm>
          <a:custGeom>
            <a:avLst/>
            <a:gdLst>
              <a:gd name="T0" fmla="*/ 0 w 1114"/>
              <a:gd name="T1" fmla="*/ 0 h 327"/>
              <a:gd name="T2" fmla="*/ 1114 w 1114"/>
              <a:gd name="T3" fmla="*/ 0 h 327"/>
              <a:gd name="T4" fmla="*/ 1114 w 1114"/>
              <a:gd name="T5" fmla="*/ 327 h 327"/>
              <a:gd name="T6" fmla="*/ 0 w 1114"/>
              <a:gd name="T7" fmla="*/ 327 h 327"/>
              <a:gd name="T8" fmla="*/ 0 w 1114"/>
              <a:gd name="T9" fmla="*/ 0 h 327"/>
              <a:gd name="T10" fmla="*/ 0 w 1114"/>
              <a:gd name="T11" fmla="*/ 0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14" h="327">
                <a:moveTo>
                  <a:pt x="0" y="0"/>
                </a:moveTo>
                <a:lnTo>
                  <a:pt x="1114" y="0"/>
                </a:lnTo>
                <a:lnTo>
                  <a:pt x="1114" y="327"/>
                </a:lnTo>
                <a:lnTo>
                  <a:pt x="0" y="327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" name="Freeform 6">
            <a:extLst>
              <a:ext uri="{FF2B5EF4-FFF2-40B4-BE49-F238E27FC236}">
                <a16:creationId xmlns:a16="http://schemas.microsoft.com/office/drawing/2014/main" id="{E342F8A0-A452-4276-6979-BCCFEC18D1AF}"/>
              </a:ext>
            </a:extLst>
          </p:cNvPr>
          <p:cNvSpPr>
            <a:spLocks/>
          </p:cNvSpPr>
          <p:nvPr/>
        </p:nvSpPr>
        <p:spPr bwMode="auto">
          <a:xfrm>
            <a:off x="4126857" y="4264624"/>
            <a:ext cx="923901" cy="923901"/>
          </a:xfrm>
          <a:custGeom>
            <a:avLst/>
            <a:gdLst>
              <a:gd name="T0" fmla="*/ 0 w 1445"/>
              <a:gd name="T1" fmla="*/ 960 h 1445"/>
              <a:gd name="T2" fmla="*/ 959 w 1445"/>
              <a:gd name="T3" fmla="*/ 0 h 1445"/>
              <a:gd name="T4" fmla="*/ 1445 w 1445"/>
              <a:gd name="T5" fmla="*/ 0 h 1445"/>
              <a:gd name="T6" fmla="*/ 0 w 1445"/>
              <a:gd name="T7" fmla="*/ 1445 h 1445"/>
              <a:gd name="T8" fmla="*/ 0 w 1445"/>
              <a:gd name="T9" fmla="*/ 960 h 1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45" h="1445">
                <a:moveTo>
                  <a:pt x="0" y="960"/>
                </a:moveTo>
                <a:cubicBezTo>
                  <a:pt x="526" y="960"/>
                  <a:pt x="959" y="526"/>
                  <a:pt x="959" y="0"/>
                </a:cubicBezTo>
                <a:cubicBezTo>
                  <a:pt x="1445" y="0"/>
                  <a:pt x="1445" y="0"/>
                  <a:pt x="1445" y="0"/>
                </a:cubicBezTo>
                <a:cubicBezTo>
                  <a:pt x="1445" y="792"/>
                  <a:pt x="792" y="1445"/>
                  <a:pt x="0" y="1445"/>
                </a:cubicBezTo>
                <a:cubicBezTo>
                  <a:pt x="0" y="960"/>
                  <a:pt x="0" y="960"/>
                  <a:pt x="0" y="9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3" name="Freeform 7">
            <a:extLst>
              <a:ext uri="{FF2B5EF4-FFF2-40B4-BE49-F238E27FC236}">
                <a16:creationId xmlns:a16="http://schemas.microsoft.com/office/drawing/2014/main" id="{0DE48FE8-F5D4-B5AB-AE5F-ABDBDCB587F1}"/>
              </a:ext>
            </a:extLst>
          </p:cNvPr>
          <p:cNvSpPr>
            <a:spLocks/>
          </p:cNvSpPr>
          <p:nvPr/>
        </p:nvSpPr>
        <p:spPr bwMode="auto">
          <a:xfrm>
            <a:off x="3202957" y="3340724"/>
            <a:ext cx="923901" cy="923901"/>
          </a:xfrm>
          <a:custGeom>
            <a:avLst/>
            <a:gdLst>
              <a:gd name="T0" fmla="*/ 1445 w 1445"/>
              <a:gd name="T1" fmla="*/ 485 h 1445"/>
              <a:gd name="T2" fmla="*/ 485 w 1445"/>
              <a:gd name="T3" fmla="*/ 1445 h 1445"/>
              <a:gd name="T4" fmla="*/ 0 w 1445"/>
              <a:gd name="T5" fmla="*/ 1445 h 1445"/>
              <a:gd name="T6" fmla="*/ 1445 w 1445"/>
              <a:gd name="T7" fmla="*/ 0 h 1445"/>
              <a:gd name="T8" fmla="*/ 1445 w 1445"/>
              <a:gd name="T9" fmla="*/ 485 h 1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45" h="1445">
                <a:moveTo>
                  <a:pt x="1445" y="485"/>
                </a:moveTo>
                <a:cubicBezTo>
                  <a:pt x="918" y="485"/>
                  <a:pt x="485" y="918"/>
                  <a:pt x="485" y="1445"/>
                </a:cubicBezTo>
                <a:cubicBezTo>
                  <a:pt x="0" y="1445"/>
                  <a:pt x="0" y="1445"/>
                  <a:pt x="0" y="1445"/>
                </a:cubicBezTo>
                <a:cubicBezTo>
                  <a:pt x="0" y="652"/>
                  <a:pt x="652" y="0"/>
                  <a:pt x="1445" y="0"/>
                </a:cubicBezTo>
                <a:cubicBezTo>
                  <a:pt x="1445" y="485"/>
                  <a:pt x="1445" y="485"/>
                  <a:pt x="1445" y="48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4" name="Freeform 8">
            <a:extLst>
              <a:ext uri="{FF2B5EF4-FFF2-40B4-BE49-F238E27FC236}">
                <a16:creationId xmlns:a16="http://schemas.microsoft.com/office/drawing/2014/main" id="{E5D6AC53-B015-D6D5-D205-0978456D66F1}"/>
              </a:ext>
            </a:extLst>
          </p:cNvPr>
          <p:cNvSpPr>
            <a:spLocks/>
          </p:cNvSpPr>
          <p:nvPr/>
        </p:nvSpPr>
        <p:spPr bwMode="auto">
          <a:xfrm>
            <a:off x="4126857" y="1802464"/>
            <a:ext cx="923901" cy="923901"/>
          </a:xfrm>
          <a:custGeom>
            <a:avLst/>
            <a:gdLst>
              <a:gd name="T0" fmla="*/ 0 w 1445"/>
              <a:gd name="T1" fmla="*/ 0 h 1445"/>
              <a:gd name="T2" fmla="*/ 1445 w 1445"/>
              <a:gd name="T3" fmla="*/ 1445 h 1445"/>
              <a:gd name="T4" fmla="*/ 959 w 1445"/>
              <a:gd name="T5" fmla="*/ 1445 h 1445"/>
              <a:gd name="T6" fmla="*/ 0 w 1445"/>
              <a:gd name="T7" fmla="*/ 485 h 1445"/>
              <a:gd name="T8" fmla="*/ 0 w 1445"/>
              <a:gd name="T9" fmla="*/ 0 h 1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45" h="1445">
                <a:moveTo>
                  <a:pt x="0" y="0"/>
                </a:moveTo>
                <a:cubicBezTo>
                  <a:pt x="792" y="0"/>
                  <a:pt x="1445" y="652"/>
                  <a:pt x="1445" y="1445"/>
                </a:cubicBezTo>
                <a:cubicBezTo>
                  <a:pt x="959" y="1445"/>
                  <a:pt x="959" y="1445"/>
                  <a:pt x="959" y="1445"/>
                </a:cubicBezTo>
                <a:cubicBezTo>
                  <a:pt x="959" y="919"/>
                  <a:pt x="526" y="485"/>
                  <a:pt x="0" y="485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5" name="Полилиния 71">
            <a:extLst>
              <a:ext uri="{FF2B5EF4-FFF2-40B4-BE49-F238E27FC236}">
                <a16:creationId xmlns:a16="http://schemas.microsoft.com/office/drawing/2014/main" id="{F570BE1D-291F-4F6F-68B8-6AA3E2E7B1E6}"/>
              </a:ext>
            </a:extLst>
          </p:cNvPr>
          <p:cNvSpPr>
            <a:spLocks/>
          </p:cNvSpPr>
          <p:nvPr/>
        </p:nvSpPr>
        <p:spPr bwMode="auto">
          <a:xfrm>
            <a:off x="4740266" y="3340724"/>
            <a:ext cx="1457651" cy="923901"/>
          </a:xfrm>
          <a:custGeom>
            <a:avLst/>
            <a:gdLst>
              <a:gd name="connsiteX0" fmla="*/ 1091063 w 1721383"/>
              <a:gd name="connsiteY0" fmla="*/ 0 h 1091062"/>
              <a:gd name="connsiteX1" fmla="*/ 1721383 w 1721383"/>
              <a:gd name="connsiteY1" fmla="*/ 0 h 1091062"/>
              <a:gd name="connsiteX2" fmla="*/ 1721383 w 1721383"/>
              <a:gd name="connsiteY2" fmla="*/ 365550 h 1091062"/>
              <a:gd name="connsiteX3" fmla="*/ 1091063 w 1721383"/>
              <a:gd name="connsiteY3" fmla="*/ 365550 h 1091062"/>
              <a:gd name="connsiteX4" fmla="*/ 1091062 w 1721383"/>
              <a:gd name="connsiteY4" fmla="*/ 0 h 1091062"/>
              <a:gd name="connsiteX5" fmla="*/ 1091062 w 1721383"/>
              <a:gd name="connsiteY5" fmla="*/ 366204 h 1091062"/>
              <a:gd name="connsiteX6" fmla="*/ 366959 w 1721383"/>
              <a:gd name="connsiteY6" fmla="*/ 1091062 h 1091062"/>
              <a:gd name="connsiteX7" fmla="*/ 0 w 1721383"/>
              <a:gd name="connsiteY7" fmla="*/ 1091062 h 1091062"/>
              <a:gd name="connsiteX8" fmla="*/ 1091062 w 1721383"/>
              <a:gd name="connsiteY8" fmla="*/ 0 h 1091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21383" h="1091062">
                <a:moveTo>
                  <a:pt x="1091063" y="0"/>
                </a:moveTo>
                <a:lnTo>
                  <a:pt x="1721383" y="0"/>
                </a:lnTo>
                <a:lnTo>
                  <a:pt x="1721383" y="365550"/>
                </a:lnTo>
                <a:lnTo>
                  <a:pt x="1091063" y="365550"/>
                </a:lnTo>
                <a:close/>
                <a:moveTo>
                  <a:pt x="1091062" y="0"/>
                </a:moveTo>
                <a:cubicBezTo>
                  <a:pt x="1091062" y="0"/>
                  <a:pt x="1091062" y="0"/>
                  <a:pt x="1091062" y="366204"/>
                </a:cubicBezTo>
                <a:cubicBezTo>
                  <a:pt x="693901" y="366204"/>
                  <a:pt x="366959" y="693145"/>
                  <a:pt x="366959" y="1091062"/>
                </a:cubicBezTo>
                <a:cubicBezTo>
                  <a:pt x="366959" y="1091062"/>
                  <a:pt x="366959" y="1091062"/>
                  <a:pt x="0" y="1091062"/>
                </a:cubicBezTo>
                <a:cubicBezTo>
                  <a:pt x="0" y="492299"/>
                  <a:pt x="493055" y="0"/>
                  <a:pt x="1091062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6" name="Freeform 11">
            <a:extLst>
              <a:ext uri="{FF2B5EF4-FFF2-40B4-BE49-F238E27FC236}">
                <a16:creationId xmlns:a16="http://schemas.microsoft.com/office/drawing/2014/main" id="{E487246F-3ED1-A8FF-9C6F-20AC4BA144D0}"/>
              </a:ext>
            </a:extLst>
          </p:cNvPr>
          <p:cNvSpPr>
            <a:spLocks/>
          </p:cNvSpPr>
          <p:nvPr/>
        </p:nvSpPr>
        <p:spPr bwMode="auto">
          <a:xfrm>
            <a:off x="3202957" y="4264624"/>
            <a:ext cx="923901" cy="923901"/>
          </a:xfrm>
          <a:custGeom>
            <a:avLst/>
            <a:gdLst>
              <a:gd name="T0" fmla="*/ 0 w 1445"/>
              <a:gd name="T1" fmla="*/ 0 h 1445"/>
              <a:gd name="T2" fmla="*/ 485 w 1445"/>
              <a:gd name="T3" fmla="*/ 0 h 1445"/>
              <a:gd name="T4" fmla="*/ 1445 w 1445"/>
              <a:gd name="T5" fmla="*/ 960 h 1445"/>
              <a:gd name="T6" fmla="*/ 1445 w 1445"/>
              <a:gd name="T7" fmla="*/ 1445 h 1445"/>
              <a:gd name="T8" fmla="*/ 0 w 1445"/>
              <a:gd name="T9" fmla="*/ 0 h 1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45" h="1445">
                <a:moveTo>
                  <a:pt x="0" y="0"/>
                </a:moveTo>
                <a:cubicBezTo>
                  <a:pt x="485" y="0"/>
                  <a:pt x="485" y="0"/>
                  <a:pt x="485" y="0"/>
                </a:cubicBezTo>
                <a:cubicBezTo>
                  <a:pt x="485" y="526"/>
                  <a:pt x="918" y="960"/>
                  <a:pt x="1445" y="960"/>
                </a:cubicBezTo>
                <a:cubicBezTo>
                  <a:pt x="1445" y="1445"/>
                  <a:pt x="1445" y="1445"/>
                  <a:pt x="1445" y="1445"/>
                </a:cubicBezTo>
                <a:cubicBezTo>
                  <a:pt x="652" y="1445"/>
                  <a:pt x="0" y="792"/>
                  <a:pt x="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7" name="Freeform 12">
            <a:extLst>
              <a:ext uri="{FF2B5EF4-FFF2-40B4-BE49-F238E27FC236}">
                <a16:creationId xmlns:a16="http://schemas.microsoft.com/office/drawing/2014/main" id="{79FAA905-A80B-C09B-5549-B1BDDDCEB50D}"/>
              </a:ext>
            </a:extLst>
          </p:cNvPr>
          <p:cNvSpPr>
            <a:spLocks/>
          </p:cNvSpPr>
          <p:nvPr/>
        </p:nvSpPr>
        <p:spPr bwMode="auto">
          <a:xfrm>
            <a:off x="4126857" y="2726367"/>
            <a:ext cx="923901" cy="923901"/>
          </a:xfrm>
          <a:custGeom>
            <a:avLst/>
            <a:gdLst>
              <a:gd name="T0" fmla="*/ 1445 w 1445"/>
              <a:gd name="T1" fmla="*/ 0 h 1445"/>
              <a:gd name="T2" fmla="*/ 0 w 1445"/>
              <a:gd name="T3" fmla="*/ 1445 h 1445"/>
              <a:gd name="T4" fmla="*/ 0 w 1445"/>
              <a:gd name="T5" fmla="*/ 960 h 1445"/>
              <a:gd name="T6" fmla="*/ 959 w 1445"/>
              <a:gd name="T7" fmla="*/ 0 h 1445"/>
              <a:gd name="T8" fmla="*/ 1445 w 1445"/>
              <a:gd name="T9" fmla="*/ 0 h 1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45" h="1445">
                <a:moveTo>
                  <a:pt x="1445" y="0"/>
                </a:moveTo>
                <a:cubicBezTo>
                  <a:pt x="1445" y="793"/>
                  <a:pt x="792" y="1445"/>
                  <a:pt x="0" y="1445"/>
                </a:cubicBezTo>
                <a:cubicBezTo>
                  <a:pt x="0" y="960"/>
                  <a:pt x="0" y="960"/>
                  <a:pt x="0" y="960"/>
                </a:cubicBezTo>
                <a:cubicBezTo>
                  <a:pt x="526" y="960"/>
                  <a:pt x="959" y="526"/>
                  <a:pt x="959" y="0"/>
                </a:cubicBezTo>
                <a:cubicBezTo>
                  <a:pt x="1445" y="0"/>
                  <a:pt x="1445" y="0"/>
                  <a:pt x="1445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8" name="Полилиния 69">
            <a:extLst>
              <a:ext uri="{FF2B5EF4-FFF2-40B4-BE49-F238E27FC236}">
                <a16:creationId xmlns:a16="http://schemas.microsoft.com/office/drawing/2014/main" id="{A05DD55E-F5BE-D23D-D2CF-92B0D04956CA}"/>
              </a:ext>
            </a:extLst>
          </p:cNvPr>
          <p:cNvSpPr>
            <a:spLocks/>
          </p:cNvSpPr>
          <p:nvPr/>
        </p:nvSpPr>
        <p:spPr bwMode="auto">
          <a:xfrm>
            <a:off x="2094437" y="2726367"/>
            <a:ext cx="1419011" cy="923901"/>
          </a:xfrm>
          <a:custGeom>
            <a:avLst/>
            <a:gdLst>
              <a:gd name="connsiteX0" fmla="*/ 1309547 w 1675751"/>
              <a:gd name="connsiteY0" fmla="*/ 0 h 1091062"/>
              <a:gd name="connsiteX1" fmla="*/ 1675751 w 1675751"/>
              <a:gd name="connsiteY1" fmla="*/ 0 h 1091062"/>
              <a:gd name="connsiteX2" fmla="*/ 584689 w 1675751"/>
              <a:gd name="connsiteY2" fmla="*/ 1091062 h 1091062"/>
              <a:gd name="connsiteX3" fmla="*/ 0 w 1675751"/>
              <a:gd name="connsiteY3" fmla="*/ 1091062 h 1091062"/>
              <a:gd name="connsiteX4" fmla="*/ 0 w 1675751"/>
              <a:gd name="connsiteY4" fmla="*/ 725512 h 1091062"/>
              <a:gd name="connsiteX5" fmla="*/ 584689 w 1675751"/>
              <a:gd name="connsiteY5" fmla="*/ 725512 h 1091062"/>
              <a:gd name="connsiteX6" fmla="*/ 584689 w 1675751"/>
              <a:gd name="connsiteY6" fmla="*/ 724858 h 1091062"/>
              <a:gd name="connsiteX7" fmla="*/ 1309547 w 1675751"/>
              <a:gd name="connsiteY7" fmla="*/ 0 h 1091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75751" h="1091062">
                <a:moveTo>
                  <a:pt x="1309547" y="0"/>
                </a:moveTo>
                <a:cubicBezTo>
                  <a:pt x="1675751" y="0"/>
                  <a:pt x="1675751" y="0"/>
                  <a:pt x="1675751" y="0"/>
                </a:cubicBezTo>
                <a:cubicBezTo>
                  <a:pt x="1675751" y="598763"/>
                  <a:pt x="1182697" y="1091062"/>
                  <a:pt x="584689" y="1091062"/>
                </a:cubicBezTo>
                <a:lnTo>
                  <a:pt x="0" y="1091062"/>
                </a:lnTo>
                <a:lnTo>
                  <a:pt x="0" y="725512"/>
                </a:lnTo>
                <a:lnTo>
                  <a:pt x="584689" y="725512"/>
                </a:lnTo>
                <a:lnTo>
                  <a:pt x="584689" y="724858"/>
                </a:lnTo>
                <a:cubicBezTo>
                  <a:pt x="981851" y="724858"/>
                  <a:pt x="1309547" y="397162"/>
                  <a:pt x="1309547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9" name="Freeform 15">
            <a:extLst>
              <a:ext uri="{FF2B5EF4-FFF2-40B4-BE49-F238E27FC236}">
                <a16:creationId xmlns:a16="http://schemas.microsoft.com/office/drawing/2014/main" id="{E149F654-A5F7-2FC5-F0F3-37C0217A51B2}"/>
              </a:ext>
            </a:extLst>
          </p:cNvPr>
          <p:cNvSpPr>
            <a:spLocks/>
          </p:cNvSpPr>
          <p:nvPr/>
        </p:nvSpPr>
        <p:spPr bwMode="auto">
          <a:xfrm>
            <a:off x="3202957" y="1802464"/>
            <a:ext cx="923901" cy="923901"/>
          </a:xfrm>
          <a:custGeom>
            <a:avLst/>
            <a:gdLst>
              <a:gd name="T0" fmla="*/ 0 w 1445"/>
              <a:gd name="T1" fmla="*/ 1445 h 1445"/>
              <a:gd name="T2" fmla="*/ 485 w 1445"/>
              <a:gd name="T3" fmla="*/ 1445 h 1445"/>
              <a:gd name="T4" fmla="*/ 1445 w 1445"/>
              <a:gd name="T5" fmla="*/ 485 h 1445"/>
              <a:gd name="T6" fmla="*/ 1445 w 1445"/>
              <a:gd name="T7" fmla="*/ 0 h 1445"/>
              <a:gd name="T8" fmla="*/ 0 w 1445"/>
              <a:gd name="T9" fmla="*/ 1445 h 1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45" h="1445">
                <a:moveTo>
                  <a:pt x="0" y="1445"/>
                </a:moveTo>
                <a:cubicBezTo>
                  <a:pt x="485" y="1445"/>
                  <a:pt x="485" y="1445"/>
                  <a:pt x="485" y="1445"/>
                </a:cubicBezTo>
                <a:cubicBezTo>
                  <a:pt x="485" y="919"/>
                  <a:pt x="918" y="485"/>
                  <a:pt x="1445" y="485"/>
                </a:cubicBezTo>
                <a:cubicBezTo>
                  <a:pt x="1445" y="0"/>
                  <a:pt x="1445" y="0"/>
                  <a:pt x="1445" y="0"/>
                </a:cubicBezTo>
                <a:cubicBezTo>
                  <a:pt x="652" y="0"/>
                  <a:pt x="0" y="652"/>
                  <a:pt x="0" y="144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80189" tIns="40094" rIns="80189" bIns="4009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grpSp>
        <p:nvGrpSpPr>
          <p:cNvPr id="20" name="Gruppieren 120">
            <a:extLst>
              <a:ext uri="{FF2B5EF4-FFF2-40B4-BE49-F238E27FC236}">
                <a16:creationId xmlns:a16="http://schemas.microsoft.com/office/drawing/2014/main" id="{C19ACF74-165E-3ACD-F67F-32C4B9EAC22C}"/>
              </a:ext>
            </a:extLst>
          </p:cNvPr>
          <p:cNvGrpSpPr>
            <a:grpSpLocks/>
          </p:cNvGrpSpPr>
          <p:nvPr/>
        </p:nvGrpSpPr>
        <p:grpSpPr>
          <a:xfrm>
            <a:off x="4632602" y="2463457"/>
            <a:ext cx="525821" cy="525821"/>
            <a:chOff x="6041835" y="2303627"/>
            <a:chExt cx="469454" cy="469454"/>
          </a:xfrm>
        </p:grpSpPr>
        <p:sp>
          <p:nvSpPr>
            <p:cNvPr id="21" name="Oval 25">
              <a:extLst>
                <a:ext uri="{FF2B5EF4-FFF2-40B4-BE49-F238E27FC236}">
                  <a16:creationId xmlns:a16="http://schemas.microsoft.com/office/drawing/2014/main" id="{49A7A002-A32E-8275-D9FE-88FF9155E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835" y="2303627"/>
              <a:ext cx="469454" cy="46945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3141" tIns="63141" rIns="63141" bIns="6314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7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</a:endParaRPr>
            </a:p>
          </p:txBody>
        </p:sp>
        <p:pic>
          <p:nvPicPr>
            <p:cNvPr id="22" name="Grafik 95">
              <a:extLst>
                <a:ext uri="{FF2B5EF4-FFF2-40B4-BE49-F238E27FC236}">
                  <a16:creationId xmlns:a16="http://schemas.microsoft.com/office/drawing/2014/main" id="{62DE4E23-23AA-4304-7B50-1D5EE01FEAC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131234" y="2393026"/>
              <a:ext cx="290656" cy="290656"/>
            </a:xfrm>
            <a:prstGeom prst="rect">
              <a:avLst/>
            </a:prstGeom>
          </p:spPr>
        </p:pic>
      </p:grpSp>
      <p:grpSp>
        <p:nvGrpSpPr>
          <p:cNvPr id="23" name="Gruppieren 119">
            <a:extLst>
              <a:ext uri="{FF2B5EF4-FFF2-40B4-BE49-F238E27FC236}">
                <a16:creationId xmlns:a16="http://schemas.microsoft.com/office/drawing/2014/main" id="{CAE317C6-BF32-04D9-2D45-963C9473284B}"/>
              </a:ext>
            </a:extLst>
          </p:cNvPr>
          <p:cNvGrpSpPr>
            <a:grpSpLocks/>
          </p:cNvGrpSpPr>
          <p:nvPr/>
        </p:nvGrpSpPr>
        <p:grpSpPr>
          <a:xfrm>
            <a:off x="3862860" y="1693715"/>
            <a:ext cx="527050" cy="527048"/>
            <a:chOff x="5150092" y="1411884"/>
            <a:chExt cx="470552" cy="470551"/>
          </a:xfrm>
        </p:grpSpPr>
        <p:sp>
          <p:nvSpPr>
            <p:cNvPr id="24" name="Oval 22">
              <a:extLst>
                <a:ext uri="{FF2B5EF4-FFF2-40B4-BE49-F238E27FC236}">
                  <a16:creationId xmlns:a16="http://schemas.microsoft.com/office/drawing/2014/main" id="{40E8C159-D677-E717-3E4C-7224AB33CE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0092" y="1411884"/>
              <a:ext cx="470552" cy="47055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3141" tIns="63141" rIns="63141" bIns="6314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7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</a:endParaRPr>
            </a:p>
          </p:txBody>
        </p:sp>
        <p:pic>
          <p:nvPicPr>
            <p:cNvPr id="25" name="Grafik 97">
              <a:extLst>
                <a:ext uri="{FF2B5EF4-FFF2-40B4-BE49-F238E27FC236}">
                  <a16:creationId xmlns:a16="http://schemas.microsoft.com/office/drawing/2014/main" id="{B2BCE548-B298-B120-C1F7-DF67D82BFCA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240040" y="1501832"/>
              <a:ext cx="290656" cy="290656"/>
            </a:xfrm>
            <a:prstGeom prst="rect">
              <a:avLst/>
            </a:prstGeom>
          </p:spPr>
        </p:pic>
      </p:grpSp>
      <p:grpSp>
        <p:nvGrpSpPr>
          <p:cNvPr id="26" name="Gruppieren 118">
            <a:extLst>
              <a:ext uri="{FF2B5EF4-FFF2-40B4-BE49-F238E27FC236}">
                <a16:creationId xmlns:a16="http://schemas.microsoft.com/office/drawing/2014/main" id="{6825554B-06D5-EB77-AB63-266CE2C0136C}"/>
              </a:ext>
            </a:extLst>
          </p:cNvPr>
          <p:cNvGrpSpPr>
            <a:grpSpLocks/>
          </p:cNvGrpSpPr>
          <p:nvPr/>
        </p:nvGrpSpPr>
        <p:grpSpPr>
          <a:xfrm>
            <a:off x="3094202" y="2463457"/>
            <a:ext cx="527052" cy="525821"/>
            <a:chOff x="4259445" y="2303626"/>
            <a:chExt cx="470552" cy="469455"/>
          </a:xfrm>
        </p:grpSpPr>
        <p:sp>
          <p:nvSpPr>
            <p:cNvPr id="27" name="Oval 20">
              <a:extLst>
                <a:ext uri="{FF2B5EF4-FFF2-40B4-BE49-F238E27FC236}">
                  <a16:creationId xmlns:a16="http://schemas.microsoft.com/office/drawing/2014/main" id="{ACA3CCFE-0C8C-B88E-C8A3-21E96E41E6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9445" y="2303626"/>
              <a:ext cx="470552" cy="46945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3141" tIns="63141" rIns="63141" bIns="6314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7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</a:endParaRPr>
            </a:p>
          </p:txBody>
        </p:sp>
        <p:pic>
          <p:nvPicPr>
            <p:cNvPr id="28" name="Grafik 99">
              <a:extLst>
                <a:ext uri="{FF2B5EF4-FFF2-40B4-BE49-F238E27FC236}">
                  <a16:creationId xmlns:a16="http://schemas.microsoft.com/office/drawing/2014/main" id="{5061EDD8-ADB7-42A1-A9F6-CD011292DD4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349393" y="2393026"/>
              <a:ext cx="290656" cy="290656"/>
            </a:xfrm>
            <a:prstGeom prst="rect">
              <a:avLst/>
            </a:prstGeom>
          </p:spPr>
        </p:pic>
      </p:grpSp>
      <p:grpSp>
        <p:nvGrpSpPr>
          <p:cNvPr id="29" name="Gruppieren 117">
            <a:extLst>
              <a:ext uri="{FF2B5EF4-FFF2-40B4-BE49-F238E27FC236}">
                <a16:creationId xmlns:a16="http://schemas.microsoft.com/office/drawing/2014/main" id="{77482162-C626-1928-41BF-5432F1CDF5A4}"/>
              </a:ext>
            </a:extLst>
          </p:cNvPr>
          <p:cNvGrpSpPr>
            <a:grpSpLocks/>
          </p:cNvGrpSpPr>
          <p:nvPr/>
        </p:nvGrpSpPr>
        <p:grpSpPr>
          <a:xfrm>
            <a:off x="1277820" y="3231973"/>
            <a:ext cx="527050" cy="527048"/>
            <a:chOff x="2763452" y="3194274"/>
            <a:chExt cx="470552" cy="470551"/>
          </a:xfrm>
        </p:grpSpPr>
        <p:sp>
          <p:nvSpPr>
            <p:cNvPr id="30" name="Oval 19">
              <a:extLst>
                <a:ext uri="{FF2B5EF4-FFF2-40B4-BE49-F238E27FC236}">
                  <a16:creationId xmlns:a16="http://schemas.microsoft.com/office/drawing/2014/main" id="{D88C54A5-9EF6-1BA4-DC33-ABC731C0027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3452" y="3194274"/>
              <a:ext cx="470552" cy="47055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3141" tIns="63141" rIns="63141" bIns="6314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7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pic>
          <p:nvPicPr>
            <p:cNvPr id="31" name="Grafik 103">
              <a:extLst>
                <a:ext uri="{FF2B5EF4-FFF2-40B4-BE49-F238E27FC236}">
                  <a16:creationId xmlns:a16="http://schemas.microsoft.com/office/drawing/2014/main" id="{781A872E-3D32-60A6-83B3-1BD199DD6C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2853400" y="3284222"/>
              <a:ext cx="290656" cy="290656"/>
            </a:xfrm>
            <a:prstGeom prst="rect">
              <a:avLst/>
            </a:prstGeom>
          </p:spPr>
        </p:pic>
      </p:grpSp>
      <p:grpSp>
        <p:nvGrpSpPr>
          <p:cNvPr id="32" name="Gruppieren 125">
            <a:extLst>
              <a:ext uri="{FF2B5EF4-FFF2-40B4-BE49-F238E27FC236}">
                <a16:creationId xmlns:a16="http://schemas.microsoft.com/office/drawing/2014/main" id="{95F24554-2019-80D3-D13B-5951CC53384D}"/>
              </a:ext>
            </a:extLst>
          </p:cNvPr>
          <p:cNvGrpSpPr>
            <a:grpSpLocks/>
          </p:cNvGrpSpPr>
          <p:nvPr/>
        </p:nvGrpSpPr>
        <p:grpSpPr>
          <a:xfrm>
            <a:off x="6157014" y="3231971"/>
            <a:ext cx="527050" cy="527048"/>
            <a:chOff x="7537828" y="3194272"/>
            <a:chExt cx="470552" cy="470551"/>
          </a:xfrm>
        </p:grpSpPr>
        <p:sp>
          <p:nvSpPr>
            <p:cNvPr id="33" name="Oval 24">
              <a:extLst>
                <a:ext uri="{FF2B5EF4-FFF2-40B4-BE49-F238E27FC236}">
                  <a16:creationId xmlns:a16="http://schemas.microsoft.com/office/drawing/2014/main" id="{6A0D5D88-016D-A522-AA51-CCFAB0CC6B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7828" y="3194272"/>
              <a:ext cx="470552" cy="47055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none" lIns="63141" tIns="63141" rIns="63141" bIns="6314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7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</a:endParaRPr>
            </a:p>
          </p:txBody>
        </p:sp>
        <p:pic>
          <p:nvPicPr>
            <p:cNvPr id="34" name="Grafik 105">
              <a:extLst>
                <a:ext uri="{FF2B5EF4-FFF2-40B4-BE49-F238E27FC236}">
                  <a16:creationId xmlns:a16="http://schemas.microsoft.com/office/drawing/2014/main" id="{98E19899-4C5C-8CFE-9535-3575957743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7627777" y="3284220"/>
              <a:ext cx="290656" cy="290656"/>
            </a:xfrm>
            <a:prstGeom prst="rect">
              <a:avLst/>
            </a:prstGeom>
          </p:spPr>
        </p:pic>
      </p:grpSp>
      <p:grpSp>
        <p:nvGrpSpPr>
          <p:cNvPr id="35" name="Gruppieren 124">
            <a:extLst>
              <a:ext uri="{FF2B5EF4-FFF2-40B4-BE49-F238E27FC236}">
                <a16:creationId xmlns:a16="http://schemas.microsoft.com/office/drawing/2014/main" id="{844870A2-54A0-091B-8F7E-CBC70A5AB713}"/>
              </a:ext>
            </a:extLst>
          </p:cNvPr>
          <p:cNvGrpSpPr>
            <a:grpSpLocks/>
          </p:cNvGrpSpPr>
          <p:nvPr/>
        </p:nvGrpSpPr>
        <p:grpSpPr>
          <a:xfrm>
            <a:off x="4632602" y="4000627"/>
            <a:ext cx="525823" cy="527048"/>
            <a:chOff x="6041835" y="4084918"/>
            <a:chExt cx="469455" cy="470551"/>
          </a:xfrm>
        </p:grpSpPr>
        <p:sp>
          <p:nvSpPr>
            <p:cNvPr id="36" name="Oval 21">
              <a:extLst>
                <a:ext uri="{FF2B5EF4-FFF2-40B4-BE49-F238E27FC236}">
                  <a16:creationId xmlns:a16="http://schemas.microsoft.com/office/drawing/2014/main" id="{EF63D8C6-FBE2-361F-B755-F2282F22E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835" y="4084918"/>
              <a:ext cx="469455" cy="47055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none" lIns="63141" tIns="63141" rIns="63141" bIns="6314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7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pic>
          <p:nvPicPr>
            <p:cNvPr id="37" name="Grafik 109">
              <a:extLst>
                <a:ext uri="{FF2B5EF4-FFF2-40B4-BE49-F238E27FC236}">
                  <a16:creationId xmlns:a16="http://schemas.microsoft.com/office/drawing/2014/main" id="{2698F1D2-D004-0F55-F1A8-B9C94D4A4D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6131235" y="4174866"/>
              <a:ext cx="290656" cy="290656"/>
            </a:xfrm>
            <a:prstGeom prst="rect">
              <a:avLst/>
            </a:prstGeom>
          </p:spPr>
        </p:pic>
      </p:grpSp>
      <p:grpSp>
        <p:nvGrpSpPr>
          <p:cNvPr id="38" name="Gruppieren 123">
            <a:extLst>
              <a:ext uri="{FF2B5EF4-FFF2-40B4-BE49-F238E27FC236}">
                <a16:creationId xmlns:a16="http://schemas.microsoft.com/office/drawing/2014/main" id="{DAA32EBD-B3E6-C820-A522-0665CF154B8F}"/>
              </a:ext>
            </a:extLst>
          </p:cNvPr>
          <p:cNvGrpSpPr>
            <a:grpSpLocks/>
          </p:cNvGrpSpPr>
          <p:nvPr/>
        </p:nvGrpSpPr>
        <p:grpSpPr>
          <a:xfrm>
            <a:off x="3862860" y="4769282"/>
            <a:ext cx="527050" cy="527048"/>
            <a:chOff x="5150092" y="4975564"/>
            <a:chExt cx="470552" cy="470551"/>
          </a:xfrm>
        </p:grpSpPr>
        <p:sp>
          <p:nvSpPr>
            <p:cNvPr id="39" name="Oval 27">
              <a:extLst>
                <a:ext uri="{FF2B5EF4-FFF2-40B4-BE49-F238E27FC236}">
                  <a16:creationId xmlns:a16="http://schemas.microsoft.com/office/drawing/2014/main" id="{0844AEDA-7A8A-FB35-B594-BB8634284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0092" y="4975564"/>
              <a:ext cx="470552" cy="47055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3141" tIns="63141" rIns="63141" bIns="6314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7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pic>
          <p:nvPicPr>
            <p:cNvPr id="40" name="Grafik 111">
              <a:extLst>
                <a:ext uri="{FF2B5EF4-FFF2-40B4-BE49-F238E27FC236}">
                  <a16:creationId xmlns:a16="http://schemas.microsoft.com/office/drawing/2014/main" id="{73A31AEA-A254-D91F-4513-34451A8B8B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5240040" y="5065512"/>
              <a:ext cx="290656" cy="290656"/>
            </a:xfrm>
            <a:prstGeom prst="rect">
              <a:avLst/>
            </a:prstGeom>
          </p:spPr>
        </p:pic>
      </p:grpSp>
      <p:grpSp>
        <p:nvGrpSpPr>
          <p:cNvPr id="41" name="Gruppieren 122">
            <a:extLst>
              <a:ext uri="{FF2B5EF4-FFF2-40B4-BE49-F238E27FC236}">
                <a16:creationId xmlns:a16="http://schemas.microsoft.com/office/drawing/2014/main" id="{A9CA5841-DF40-13A4-A850-DC70DB567C41}"/>
              </a:ext>
            </a:extLst>
          </p:cNvPr>
          <p:cNvGrpSpPr>
            <a:grpSpLocks/>
          </p:cNvGrpSpPr>
          <p:nvPr/>
        </p:nvGrpSpPr>
        <p:grpSpPr>
          <a:xfrm>
            <a:off x="3094203" y="4000627"/>
            <a:ext cx="527050" cy="527048"/>
            <a:chOff x="4259445" y="4084918"/>
            <a:chExt cx="470552" cy="470551"/>
          </a:xfrm>
        </p:grpSpPr>
        <p:sp>
          <p:nvSpPr>
            <p:cNvPr id="42" name="Oval 26">
              <a:extLst>
                <a:ext uri="{FF2B5EF4-FFF2-40B4-BE49-F238E27FC236}">
                  <a16:creationId xmlns:a16="http://schemas.microsoft.com/office/drawing/2014/main" id="{558411F4-E9B5-B54B-902E-C35B847BC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9445" y="4084918"/>
              <a:ext cx="470552" cy="47055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3141" tIns="63141" rIns="63141" bIns="6314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7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</a:endParaRPr>
            </a:p>
          </p:txBody>
        </p:sp>
        <p:pic>
          <p:nvPicPr>
            <p:cNvPr id="43" name="Grafik 113">
              <a:extLst>
                <a:ext uri="{FF2B5EF4-FFF2-40B4-BE49-F238E27FC236}">
                  <a16:creationId xmlns:a16="http://schemas.microsoft.com/office/drawing/2014/main" id="{27B01E34-CB64-F21C-CAAA-6249A3E842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349393" y="4174866"/>
              <a:ext cx="290656" cy="290656"/>
            </a:xfrm>
            <a:prstGeom prst="rect">
              <a:avLst/>
            </a:prstGeom>
          </p:spPr>
        </p:pic>
      </p:grpSp>
      <p:grpSp>
        <p:nvGrpSpPr>
          <p:cNvPr id="45" name="Gruppieren 121">
            <a:extLst>
              <a:ext uri="{FF2B5EF4-FFF2-40B4-BE49-F238E27FC236}">
                <a16:creationId xmlns:a16="http://schemas.microsoft.com/office/drawing/2014/main" id="{3E0CCB92-C424-9390-9DE8-37D2EE94ED31}"/>
              </a:ext>
            </a:extLst>
          </p:cNvPr>
          <p:cNvGrpSpPr>
            <a:grpSpLocks/>
          </p:cNvGrpSpPr>
          <p:nvPr/>
        </p:nvGrpSpPr>
        <p:grpSpPr>
          <a:xfrm>
            <a:off x="3862860" y="3231971"/>
            <a:ext cx="527050" cy="527048"/>
            <a:chOff x="5150092" y="3194272"/>
            <a:chExt cx="470552" cy="470551"/>
          </a:xfrm>
        </p:grpSpPr>
        <p:sp>
          <p:nvSpPr>
            <p:cNvPr id="46" name="Oval 23">
              <a:extLst>
                <a:ext uri="{FF2B5EF4-FFF2-40B4-BE49-F238E27FC236}">
                  <a16:creationId xmlns:a16="http://schemas.microsoft.com/office/drawing/2014/main" id="{FDD8B76A-6D23-5A67-0077-AADC3A55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0092" y="3194272"/>
              <a:ext cx="470552" cy="47055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3141" tIns="63141" rIns="63141" bIns="6314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7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</a:endParaRPr>
            </a:p>
          </p:txBody>
        </p:sp>
        <p:pic>
          <p:nvPicPr>
            <p:cNvPr id="47" name="Grafik 115">
              <a:extLst>
                <a:ext uri="{FF2B5EF4-FFF2-40B4-BE49-F238E27FC236}">
                  <a16:creationId xmlns:a16="http://schemas.microsoft.com/office/drawing/2014/main" id="{734C65DD-44F2-A22C-F9BC-FCCB6086DA43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5240040" y="3284220"/>
              <a:ext cx="290656" cy="290656"/>
            </a:xfrm>
            <a:prstGeom prst="rect">
              <a:avLst/>
            </a:prstGeom>
          </p:spPr>
        </p:pic>
      </p:grpSp>
      <p:sp>
        <p:nvSpPr>
          <p:cNvPr id="48" name="Textfeld 140">
            <a:extLst>
              <a:ext uri="{FF2B5EF4-FFF2-40B4-BE49-F238E27FC236}">
                <a16:creationId xmlns:a16="http://schemas.microsoft.com/office/drawing/2014/main" id="{7795C2EC-A1B1-F1E7-239E-D5203D98858B}"/>
              </a:ext>
            </a:extLst>
          </p:cNvPr>
          <p:cNvSpPr txBox="1">
            <a:spLocks/>
          </p:cNvSpPr>
          <p:nvPr/>
        </p:nvSpPr>
        <p:spPr>
          <a:xfrm>
            <a:off x="1725164" y="3051070"/>
            <a:ext cx="21320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b="1">
                <a:solidFill>
                  <a:schemeClr val="accent1"/>
                </a:solidFill>
              </a:rPr>
              <a:t>01.</a:t>
            </a:r>
          </a:p>
        </p:txBody>
      </p:sp>
      <p:sp>
        <p:nvSpPr>
          <p:cNvPr id="49" name="Textfeld 141">
            <a:extLst>
              <a:ext uri="{FF2B5EF4-FFF2-40B4-BE49-F238E27FC236}">
                <a16:creationId xmlns:a16="http://schemas.microsoft.com/office/drawing/2014/main" id="{0A100C69-D1A9-0DCC-36C3-23BDFD655D9C}"/>
              </a:ext>
            </a:extLst>
          </p:cNvPr>
          <p:cNvSpPr txBox="1">
            <a:spLocks/>
          </p:cNvSpPr>
          <p:nvPr/>
        </p:nvSpPr>
        <p:spPr>
          <a:xfrm>
            <a:off x="3653808" y="2435120"/>
            <a:ext cx="21320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b="1">
                <a:solidFill>
                  <a:schemeClr val="accent1"/>
                </a:solidFill>
              </a:rPr>
              <a:t>02.</a:t>
            </a:r>
          </a:p>
        </p:txBody>
      </p:sp>
      <p:sp>
        <p:nvSpPr>
          <p:cNvPr id="50" name="Textfeld 142">
            <a:extLst>
              <a:ext uri="{FF2B5EF4-FFF2-40B4-BE49-F238E27FC236}">
                <a16:creationId xmlns:a16="http://schemas.microsoft.com/office/drawing/2014/main" id="{B93B5F1C-A0C0-A6B8-CB1B-429795127730}"/>
              </a:ext>
            </a:extLst>
          </p:cNvPr>
          <p:cNvSpPr txBox="1">
            <a:spLocks/>
          </p:cNvSpPr>
          <p:nvPr/>
        </p:nvSpPr>
        <p:spPr>
          <a:xfrm>
            <a:off x="4352308" y="1558820"/>
            <a:ext cx="21320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b="1">
                <a:solidFill>
                  <a:schemeClr val="accent1"/>
                </a:solidFill>
              </a:rPr>
              <a:t>03.</a:t>
            </a:r>
          </a:p>
        </p:txBody>
      </p:sp>
      <p:sp>
        <p:nvSpPr>
          <p:cNvPr id="51" name="Textfeld 143">
            <a:extLst>
              <a:ext uri="{FF2B5EF4-FFF2-40B4-BE49-F238E27FC236}">
                <a16:creationId xmlns:a16="http://schemas.microsoft.com/office/drawing/2014/main" id="{DDDB0DCF-4BB3-244D-4129-9A11FDCA87F1}"/>
              </a:ext>
            </a:extLst>
          </p:cNvPr>
          <p:cNvSpPr txBox="1">
            <a:spLocks/>
          </p:cNvSpPr>
          <p:nvPr/>
        </p:nvSpPr>
        <p:spPr>
          <a:xfrm>
            <a:off x="5146058" y="2377970"/>
            <a:ext cx="21320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b="1">
                <a:solidFill>
                  <a:schemeClr val="accent1"/>
                </a:solidFill>
              </a:rPr>
              <a:t>04.</a:t>
            </a:r>
          </a:p>
        </p:txBody>
      </p:sp>
      <p:sp>
        <p:nvSpPr>
          <p:cNvPr id="52" name="Textfeld 144">
            <a:extLst>
              <a:ext uri="{FF2B5EF4-FFF2-40B4-BE49-F238E27FC236}">
                <a16:creationId xmlns:a16="http://schemas.microsoft.com/office/drawing/2014/main" id="{06BA6FA4-7E0A-FCC1-2E55-81AF70E03B93}"/>
              </a:ext>
            </a:extLst>
          </p:cNvPr>
          <p:cNvSpPr txBox="1">
            <a:spLocks/>
          </p:cNvSpPr>
          <p:nvPr/>
        </p:nvSpPr>
        <p:spPr>
          <a:xfrm>
            <a:off x="3647458" y="3146320"/>
            <a:ext cx="21320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b="1">
                <a:solidFill>
                  <a:schemeClr val="accent1"/>
                </a:solidFill>
              </a:rPr>
              <a:t>05.</a:t>
            </a:r>
          </a:p>
        </p:txBody>
      </p:sp>
      <p:sp>
        <p:nvSpPr>
          <p:cNvPr id="53" name="Textfeld 145">
            <a:extLst>
              <a:ext uri="{FF2B5EF4-FFF2-40B4-BE49-F238E27FC236}">
                <a16:creationId xmlns:a16="http://schemas.microsoft.com/office/drawing/2014/main" id="{181386E2-6D02-0835-FB70-ADC8B98B305D}"/>
              </a:ext>
            </a:extLst>
          </p:cNvPr>
          <p:cNvSpPr txBox="1">
            <a:spLocks/>
          </p:cNvSpPr>
          <p:nvPr/>
        </p:nvSpPr>
        <p:spPr>
          <a:xfrm>
            <a:off x="2910858" y="3889270"/>
            <a:ext cx="21320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b="1">
                <a:solidFill>
                  <a:schemeClr val="accent1"/>
                </a:solidFill>
              </a:rPr>
              <a:t>06.</a:t>
            </a:r>
          </a:p>
        </p:txBody>
      </p:sp>
      <p:sp>
        <p:nvSpPr>
          <p:cNvPr id="54" name="Textfeld 146">
            <a:extLst>
              <a:ext uri="{FF2B5EF4-FFF2-40B4-BE49-F238E27FC236}">
                <a16:creationId xmlns:a16="http://schemas.microsoft.com/office/drawing/2014/main" id="{2C40E8FE-24EA-962D-D925-932E18B4E9A8}"/>
              </a:ext>
            </a:extLst>
          </p:cNvPr>
          <p:cNvSpPr txBox="1">
            <a:spLocks/>
          </p:cNvSpPr>
          <p:nvPr/>
        </p:nvSpPr>
        <p:spPr>
          <a:xfrm>
            <a:off x="4326908" y="5229120"/>
            <a:ext cx="21320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b="1">
                <a:solidFill>
                  <a:schemeClr val="accent1"/>
                </a:solidFill>
              </a:rPr>
              <a:t>07.</a:t>
            </a:r>
          </a:p>
        </p:txBody>
      </p:sp>
      <p:sp>
        <p:nvSpPr>
          <p:cNvPr id="55" name="Textfeld 147">
            <a:extLst>
              <a:ext uri="{FF2B5EF4-FFF2-40B4-BE49-F238E27FC236}">
                <a16:creationId xmlns:a16="http://schemas.microsoft.com/office/drawing/2014/main" id="{B85813BA-3B87-218B-135D-8347A8D8F1D0}"/>
              </a:ext>
            </a:extLst>
          </p:cNvPr>
          <p:cNvSpPr txBox="1">
            <a:spLocks/>
          </p:cNvSpPr>
          <p:nvPr/>
        </p:nvSpPr>
        <p:spPr>
          <a:xfrm>
            <a:off x="5114308" y="4460770"/>
            <a:ext cx="21320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b="1">
                <a:solidFill>
                  <a:schemeClr val="accent1"/>
                </a:solidFill>
              </a:rPr>
              <a:t>08.</a:t>
            </a:r>
          </a:p>
        </p:txBody>
      </p:sp>
      <p:sp>
        <p:nvSpPr>
          <p:cNvPr id="56" name="Textfeld 148">
            <a:extLst>
              <a:ext uri="{FF2B5EF4-FFF2-40B4-BE49-F238E27FC236}">
                <a16:creationId xmlns:a16="http://schemas.microsoft.com/office/drawing/2014/main" id="{1A36440E-CBFB-3337-10D9-50C209900669}"/>
              </a:ext>
            </a:extLst>
          </p:cNvPr>
          <p:cNvSpPr txBox="1">
            <a:spLocks/>
          </p:cNvSpPr>
          <p:nvPr/>
        </p:nvSpPr>
        <p:spPr>
          <a:xfrm>
            <a:off x="6643172" y="3108220"/>
            <a:ext cx="21320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b="1">
                <a:solidFill>
                  <a:schemeClr val="accent1"/>
                </a:solidFill>
              </a:rPr>
              <a:t>09.</a:t>
            </a:r>
          </a:p>
        </p:txBody>
      </p:sp>
      <p:sp>
        <p:nvSpPr>
          <p:cNvPr id="57" name="Textplatzhalter 2">
            <a:extLst>
              <a:ext uri="{FF2B5EF4-FFF2-40B4-BE49-F238E27FC236}">
                <a16:creationId xmlns:a16="http://schemas.microsoft.com/office/drawing/2014/main" id="{FFB92D19-B43A-D7A5-4694-AD686D3738FE}"/>
              </a:ext>
            </a:extLst>
          </p:cNvPr>
          <p:cNvSpPr txBox="1">
            <a:spLocks/>
          </p:cNvSpPr>
          <p:nvPr/>
        </p:nvSpPr>
        <p:spPr>
          <a:xfrm>
            <a:off x="8468450" y="1557338"/>
            <a:ext cx="291833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01.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58" name="Textplatzhalter 2">
            <a:extLst>
              <a:ext uri="{FF2B5EF4-FFF2-40B4-BE49-F238E27FC236}">
                <a16:creationId xmlns:a16="http://schemas.microsoft.com/office/drawing/2014/main" id="{CD6B71BD-06E2-A148-F5FA-7D4B6CEF3F85}"/>
              </a:ext>
            </a:extLst>
          </p:cNvPr>
          <p:cNvSpPr txBox="1">
            <a:spLocks/>
          </p:cNvSpPr>
          <p:nvPr/>
        </p:nvSpPr>
        <p:spPr>
          <a:xfrm>
            <a:off x="8468450" y="2070670"/>
            <a:ext cx="291833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02.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59" name="Textplatzhalter 2">
            <a:extLst>
              <a:ext uri="{FF2B5EF4-FFF2-40B4-BE49-F238E27FC236}">
                <a16:creationId xmlns:a16="http://schemas.microsoft.com/office/drawing/2014/main" id="{8848336C-ACF4-2702-EDD2-42F1D2553A99}"/>
              </a:ext>
            </a:extLst>
          </p:cNvPr>
          <p:cNvSpPr txBox="1">
            <a:spLocks/>
          </p:cNvSpPr>
          <p:nvPr/>
        </p:nvSpPr>
        <p:spPr>
          <a:xfrm>
            <a:off x="8468450" y="2584002"/>
            <a:ext cx="291833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03.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0" name="Textplatzhalter 2">
            <a:extLst>
              <a:ext uri="{FF2B5EF4-FFF2-40B4-BE49-F238E27FC236}">
                <a16:creationId xmlns:a16="http://schemas.microsoft.com/office/drawing/2014/main" id="{772E6370-384C-9BF1-44F6-54BFD64A6DC1}"/>
              </a:ext>
            </a:extLst>
          </p:cNvPr>
          <p:cNvSpPr txBox="1">
            <a:spLocks/>
          </p:cNvSpPr>
          <p:nvPr/>
        </p:nvSpPr>
        <p:spPr>
          <a:xfrm>
            <a:off x="8468450" y="3097334"/>
            <a:ext cx="291833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04.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1" name="Textplatzhalter 2">
            <a:extLst>
              <a:ext uri="{FF2B5EF4-FFF2-40B4-BE49-F238E27FC236}">
                <a16:creationId xmlns:a16="http://schemas.microsoft.com/office/drawing/2014/main" id="{BAA4DE6B-A768-9266-67FC-2E5BA29F6BEA}"/>
              </a:ext>
            </a:extLst>
          </p:cNvPr>
          <p:cNvSpPr txBox="1">
            <a:spLocks/>
          </p:cNvSpPr>
          <p:nvPr/>
        </p:nvSpPr>
        <p:spPr>
          <a:xfrm>
            <a:off x="8468450" y="3610666"/>
            <a:ext cx="291833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05.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2" name="Textplatzhalter 2">
            <a:extLst>
              <a:ext uri="{FF2B5EF4-FFF2-40B4-BE49-F238E27FC236}">
                <a16:creationId xmlns:a16="http://schemas.microsoft.com/office/drawing/2014/main" id="{CAB51612-0F2C-ED88-2A1B-545E27C3E7FD}"/>
              </a:ext>
            </a:extLst>
          </p:cNvPr>
          <p:cNvSpPr txBox="1">
            <a:spLocks/>
          </p:cNvSpPr>
          <p:nvPr/>
        </p:nvSpPr>
        <p:spPr>
          <a:xfrm>
            <a:off x="8468450" y="4123998"/>
            <a:ext cx="291833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06.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3" name="Textplatzhalter 2">
            <a:extLst>
              <a:ext uri="{FF2B5EF4-FFF2-40B4-BE49-F238E27FC236}">
                <a16:creationId xmlns:a16="http://schemas.microsoft.com/office/drawing/2014/main" id="{E4EC4C81-A5EB-7521-7811-E3AF6E05FB81}"/>
              </a:ext>
            </a:extLst>
          </p:cNvPr>
          <p:cNvSpPr txBox="1">
            <a:spLocks/>
          </p:cNvSpPr>
          <p:nvPr/>
        </p:nvSpPr>
        <p:spPr>
          <a:xfrm>
            <a:off x="8468450" y="4637330"/>
            <a:ext cx="291833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07.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4" name="Textplatzhalter 2">
            <a:extLst>
              <a:ext uri="{FF2B5EF4-FFF2-40B4-BE49-F238E27FC236}">
                <a16:creationId xmlns:a16="http://schemas.microsoft.com/office/drawing/2014/main" id="{78217F09-59CD-76AD-2A86-9AFBA328B008}"/>
              </a:ext>
            </a:extLst>
          </p:cNvPr>
          <p:cNvSpPr txBox="1">
            <a:spLocks/>
          </p:cNvSpPr>
          <p:nvPr/>
        </p:nvSpPr>
        <p:spPr>
          <a:xfrm>
            <a:off x="8468450" y="5150661"/>
            <a:ext cx="291833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08.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5A0D643C-835B-B8CA-7580-2EFD63344AC4}"/>
              </a:ext>
            </a:extLst>
          </p:cNvPr>
          <p:cNvSpPr txBox="1">
            <a:spLocks/>
          </p:cNvSpPr>
          <p:nvPr/>
        </p:nvSpPr>
        <p:spPr>
          <a:xfrm>
            <a:off x="8468450" y="5663993"/>
            <a:ext cx="291833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09.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15487825-41BB-D6E7-8270-25F5B793294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36525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processes, stage, stages, phase, phases, plan, plans, icon, icons, paths, step, steps</a:t>
            </a:r>
          </a:p>
        </p:txBody>
      </p:sp>
    </p:spTree>
    <p:extLst>
      <p:ext uri="{BB962C8B-B14F-4D97-AF65-F5344CB8AC3E}">
        <p14:creationId xmlns:p14="http://schemas.microsoft.com/office/powerpoint/2010/main" val="15506838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